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7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4" r:id="rId11"/>
    <p:sldId id="285" r:id="rId12"/>
    <p:sldId id="288" r:id="rId13"/>
    <p:sldId id="287" r:id="rId14"/>
    <p:sldId id="271" r:id="rId15"/>
    <p:sldId id="272" r:id="rId16"/>
    <p:sldId id="259" r:id="rId17"/>
    <p:sldId id="273" r:id="rId18"/>
    <p:sldId id="269" r:id="rId19"/>
    <p:sldId id="270" r:id="rId20"/>
    <p:sldId id="277" r:id="rId21"/>
    <p:sldId id="280" r:id="rId22"/>
    <p:sldId id="281" r:id="rId23"/>
    <p:sldId id="282" r:id="rId24"/>
    <p:sldId id="283" r:id="rId25"/>
    <p:sldId id="268" r:id="rId26"/>
  </p:sldIdLst>
  <p:sldSz cx="12192000" cy="6858000"/>
  <p:notesSz cx="6858000" cy="9144000"/>
  <p:embeddedFontLst>
    <p:embeddedFont>
      <p:font typeface="Barlow Light" panose="020B0604020202020204" charset="0"/>
      <p:regular r:id="rId28"/>
      <p:bold r:id="rId29"/>
      <p:italic r:id="rId30"/>
      <p:boldItalic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Oswald" pitchFamily="2" charset="0"/>
      <p:regular r:id="rId36"/>
      <p:bold r:id="rId37"/>
    </p:embeddedFont>
    <p:embeddedFont>
      <p:font typeface="Raleway" panose="020B0604020202020204" charset="0"/>
      <p:regular r:id="rId38"/>
      <p:bold r:id="rId39"/>
      <p:italic r:id="rId40"/>
      <p:boldItalic r:id="rId41"/>
    </p:embeddedFont>
    <p:embeddedFont>
      <p:font typeface="Raleway Thin" panose="020B0604020202020204" charset="0"/>
      <p:regular r:id="rId42"/>
      <p:bold r:id="rId43"/>
      <p:italic r:id="rId44"/>
      <p:boldItalic r:id="rId45"/>
    </p:embeddedFont>
    <p:embeddedFont>
      <p:font typeface="Sitka Text Semibold" pitchFamily="2" charset="0"/>
      <p:bold r:id="rId46"/>
      <p:boldItalic r:id="rId4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FF21"/>
    <a:srgbClr val="EEE9FF"/>
    <a:srgbClr val="3535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2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font" Target="fonts/font20.fntdata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font" Target="fonts/font19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2.fntdata"/><Relationship Id="rId41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851" y="3069397"/>
            <a:ext cx="10548731" cy="2125456"/>
          </a:xfrm>
        </p:spPr>
        <p:txBody>
          <a:bodyPr/>
          <a:lstStyle/>
          <a:p>
            <a:pPr algn="l"/>
            <a:r>
              <a:rPr lang="vi-VN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 : 1 mảng có N phần tử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 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/>
          </a:p>
          <a:p>
            <a:pPr algn="l"/>
            <a:endParaRPr lang="en-US" sz="2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62851" y="1122363"/>
            <a:ext cx="457200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65A1576-79B9-4260-BC4B-E266CC41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709"/>
              </p:ext>
            </p:extLst>
          </p:nvPr>
        </p:nvGraphicFramePr>
        <p:xfrm>
          <a:off x="2032000" y="2181593"/>
          <a:ext cx="8127999" cy="375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2283794904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7923651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94042318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6433759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02664758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29153147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12487641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0109912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3736222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315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157253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0" y="1122361"/>
            <a:ext cx="6162259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1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1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3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8" fill="hold">
                      <p:stCondLst>
                        <p:cond delay="indefinite"/>
                      </p:stCondLst>
                      <p:childTnLst>
                        <p:par>
                          <p:cTn id="159" fill="hold">
                            <p:stCondLst>
                              <p:cond delay="0"/>
                            </p:stCondLst>
                            <p:childTnLst>
                              <p:par>
                                <p:cTn id="1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2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7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998" y="2112989"/>
            <a:ext cx="7408794" cy="4155289"/>
          </a:xfrm>
        </p:spPr>
        <p:txBody>
          <a:bodyPr/>
          <a:lstStyle/>
          <a:p>
            <a:pPr algn="l"/>
            <a:r>
              <a:rPr lang="en-US"/>
              <a:t>?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73426" y="1122361"/>
            <a:ext cx="3750365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3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4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0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062330" cy="547411"/>
          </a:xfrm>
        </p:spPr>
        <p:txBody>
          <a:bodyPr/>
          <a:lstStyle/>
          <a:p>
            <a:r>
              <a:rPr lang="en-US" sz="4000"/>
              <a:t>Bài 2: 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2160105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4386470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4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80k</a:t>
            </a:r>
            <a:endParaRPr lang="en-US" sz="24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ới crush nhé!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C6D165-2676-43C4-98F4-92BB7A13F7E9}"/>
              </a:ext>
            </a:extLst>
          </p:cNvPr>
          <p:cNvCxnSpPr/>
          <p:nvPr/>
        </p:nvCxnSpPr>
        <p:spPr>
          <a:xfrm>
            <a:off x="8150087" y="2478157"/>
            <a:ext cx="715617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865027-930B-4E8A-B269-1834AF6017F3}"/>
              </a:ext>
            </a:extLst>
          </p:cNvPr>
          <p:cNvCxnSpPr>
            <a:cxnSpLocks/>
          </p:cNvCxnSpPr>
          <p:nvPr/>
        </p:nvCxnSpPr>
        <p:spPr>
          <a:xfrm>
            <a:off x="3379304" y="4128053"/>
            <a:ext cx="1020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D37F27-16A4-46D2-A831-E09299659FF7}"/>
              </a:ext>
            </a:extLst>
          </p:cNvPr>
          <p:cNvCxnSpPr>
            <a:cxnSpLocks/>
          </p:cNvCxnSpPr>
          <p:nvPr/>
        </p:nvCxnSpPr>
        <p:spPr>
          <a:xfrm>
            <a:off x="3379304" y="3048001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E816E5-8241-4F73-B446-2016E88023A9}"/>
              </a:ext>
            </a:extLst>
          </p:cNvPr>
          <p:cNvCxnSpPr>
            <a:cxnSpLocks/>
          </p:cNvCxnSpPr>
          <p:nvPr/>
        </p:nvCxnSpPr>
        <p:spPr>
          <a:xfrm>
            <a:off x="3379304" y="3578087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3A005A-9E58-42B7-AFF8-C38FFD30678E}"/>
              </a:ext>
            </a:extLst>
          </p:cNvPr>
          <p:cNvCxnSpPr>
            <a:cxnSpLocks/>
          </p:cNvCxnSpPr>
          <p:nvPr/>
        </p:nvCxnSpPr>
        <p:spPr>
          <a:xfrm>
            <a:off x="4777408" y="3054628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71A924-7E5D-4EFA-A15A-6EB67C203C6E}"/>
              </a:ext>
            </a:extLst>
          </p:cNvPr>
          <p:cNvCxnSpPr>
            <a:cxnSpLocks/>
          </p:cNvCxnSpPr>
          <p:nvPr/>
        </p:nvCxnSpPr>
        <p:spPr>
          <a:xfrm>
            <a:off x="4777408" y="3584714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7F3A1-5AB3-41C5-BFD6-C7023199B5D0}"/>
              </a:ext>
            </a:extLst>
          </p:cNvPr>
          <p:cNvCxnSpPr>
            <a:cxnSpLocks/>
          </p:cNvCxnSpPr>
          <p:nvPr/>
        </p:nvCxnSpPr>
        <p:spPr>
          <a:xfrm>
            <a:off x="4906617" y="4128053"/>
            <a:ext cx="434009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F6019E-6FFC-428E-B4C5-012DC376E6E9}"/>
              </a:ext>
            </a:extLst>
          </p:cNvPr>
          <p:cNvCxnSpPr>
            <a:cxnSpLocks/>
          </p:cNvCxnSpPr>
          <p:nvPr/>
        </p:nvCxnSpPr>
        <p:spPr>
          <a:xfrm>
            <a:off x="8295861" y="4750905"/>
            <a:ext cx="1603513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A810DB-CA6C-4926-AF9A-83173AB828CE}"/>
              </a:ext>
            </a:extLst>
          </p:cNvPr>
          <p:cNvCxnSpPr>
            <a:cxnSpLocks/>
          </p:cNvCxnSpPr>
          <p:nvPr/>
        </p:nvCxnSpPr>
        <p:spPr>
          <a:xfrm>
            <a:off x="10568609" y="4750905"/>
            <a:ext cx="19215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3AAB67-8C42-45FF-AC96-228CD8EBE1BC}"/>
              </a:ext>
            </a:extLst>
          </p:cNvPr>
          <p:cNvCxnSpPr>
            <a:cxnSpLocks/>
          </p:cNvCxnSpPr>
          <p:nvPr/>
        </p:nvCxnSpPr>
        <p:spPr>
          <a:xfrm>
            <a:off x="7142922" y="5565914"/>
            <a:ext cx="887895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6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1550505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: mảng days gồm n phần tử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4k, 7 ngày 25k, 30 ngày 80k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: chi phí tối thiểu?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0382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í d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ẫ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: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Có 3 tường hợp là mua 1 vé 1 ngày, mua vé 7 ngày và mua vé 30 ngày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ua vé 1 ngày ít tốn nhất (4k) nên đây là kết quả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}. Chi phí thấp nhất là 8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}. Chi phí thấp nhất là 12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}.Chi phí thấp nhất là 25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, 29}. Chi phí thấp nhất là 29k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=&gt;  mỗi lần xét thêm 1 phần tử thì tìm chi phí nhỏ nhất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359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863945"/>
          </a:xfrm>
        </p:spPr>
        <p:txBody>
          <a:bodyPr/>
          <a:lstStyle/>
          <a:p>
            <a:r>
              <a:rPr lang="en-US"/>
              <a:t>Algorithms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038487-D35B-45FC-BA49-9591B95A4A96}"/>
              </a:ext>
            </a:extLst>
          </p:cNvPr>
          <p:cNvSpPr txBox="1"/>
          <p:nvPr/>
        </p:nvSpPr>
        <p:spPr>
          <a:xfrm>
            <a:off x="3737113" y="4081671"/>
            <a:ext cx="4876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Code for every solution and its result</a:t>
            </a:r>
          </a:p>
        </p:txBody>
      </p:sp>
    </p:spTree>
    <p:extLst>
      <p:ext uri="{BB962C8B-B14F-4D97-AF65-F5344CB8AC3E}">
        <p14:creationId xmlns:p14="http://schemas.microsoft.com/office/powerpoint/2010/main" val="12351585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BF1C5C0C-AC7B-43DF-9628-85D5C10848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6920" y="1773238"/>
            <a:ext cx="3032760" cy="109188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95283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936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371790" y="1122361"/>
            <a:ext cx="657765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3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8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8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8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9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92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0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2000"/>
                            </p:stCondLst>
                            <p:childTnLst>
                              <p:par>
                                <p:cTn id="13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256516-0279-494B-8120-2E1623E285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409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cô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207E1-1BAD-4F5B-933C-895F010E15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3270" y="2112990"/>
            <a:ext cx="9144000" cy="1995184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ìm tập hợp nào có tổng giá trị bằng nửa số tiề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1" y="1122361"/>
            <a:ext cx="5287616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844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019</TotalTime>
  <Words>1539</Words>
  <Application>Microsoft Office PowerPoint</Application>
  <PresentationFormat>Widescreen</PresentationFormat>
  <Paragraphs>255</Paragraphs>
  <Slides>2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Raleway Thin</vt:lpstr>
      <vt:lpstr>Raleway</vt:lpstr>
      <vt:lpstr>Calibri</vt:lpstr>
      <vt:lpstr>Oswald</vt:lpstr>
      <vt:lpstr>Arial</vt:lpstr>
      <vt:lpstr>Sitka Text Semibold</vt:lpstr>
      <vt:lpstr>Symbol</vt:lpstr>
      <vt:lpstr>Barlow Light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PowerPoint Presentation</vt:lpstr>
      <vt:lpstr>PowerPoint Presentation</vt:lpstr>
      <vt:lpstr>Bài 1:</vt:lpstr>
      <vt:lpstr>Bài 2: Decomposition</vt:lpstr>
      <vt:lpstr>Bài 2: Abstraction</vt:lpstr>
      <vt:lpstr>Bài 2: Abstraction</vt:lpstr>
      <vt:lpstr>Bài 2: Pattern recognition</vt:lpstr>
      <vt:lpstr>Bài 2:</vt:lpstr>
      <vt:lpstr>Bài 3:</vt:lpstr>
      <vt:lpstr>PowerPoint Presentation</vt:lpstr>
      <vt:lpstr>PowerPoint Presentation</vt:lpstr>
      <vt:lpstr>PowerPoint Presentation</vt:lpstr>
      <vt:lpstr>PowerPoint Presentation</vt:lpstr>
      <vt:lpstr>Cảm ơn thầy cô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28</cp:revision>
  <dcterms:created xsi:type="dcterms:W3CDTF">2021-05-21T14:55:51Z</dcterms:created>
  <dcterms:modified xsi:type="dcterms:W3CDTF">2021-06-07T04:56:18Z</dcterms:modified>
</cp:coreProperties>
</file>